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62" r:id="rId4"/>
    <p:sldId id="260" r:id="rId5"/>
    <p:sldId id="263" r:id="rId6"/>
  </p:sldIdLst>
  <p:sldSz cx="12192000" cy="6858000"/>
  <p:notesSz cx="6858000" cy="9144000"/>
  <p:custDataLst>
    <p:tags r:id="rId7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74" userDrawn="1">
          <p15:clr>
            <a:srgbClr val="A4A3A4"/>
          </p15:clr>
        </p15:guide>
        <p15:guide id="4" orient="horz" pos="39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57"/>
    <p:restoredTop sz="94671"/>
  </p:normalViewPr>
  <p:slideViewPr>
    <p:cSldViewPr snapToGrid="0" snapToObjects="1" showGuides="1">
      <p:cViewPr varScale="1">
        <p:scale>
          <a:sx n="100" d="100"/>
          <a:sy n="100" d="100"/>
        </p:scale>
        <p:origin x="1192" y="160"/>
      </p:cViewPr>
      <p:guideLst>
        <p:guide orient="horz" pos="2160"/>
        <p:guide pos="3840"/>
        <p:guide pos="574"/>
        <p:guide orient="horz" pos="392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F0856-D6CE-9F4F-A7BF-6B173AE359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7C5BB3-2081-4844-B149-BE1B7998AF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72E733-7382-F548-9332-E85B3839615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EBFF10-F747-3149-B309-D1D4E4DD9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1BAFC9-49E6-0148-BD18-9C74C2AB3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82363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52270-4BF6-0A4A-8BE8-0C0681E5E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5662AC7-CECE-374E-B7F4-2C4C812355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2E5F94-FE8F-8947-B4AF-4790EFDEBD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401D2C-D4A4-3D48-B7D9-25235D94D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BC38A7-39CF-9946-9753-4140161DD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25733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F682B9-728E-7F49-A75F-C3CB1A12802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168FA5-9ED5-C94D-918F-F4424997E3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F288BE-018A-D542-8B4C-F48507BBD4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6AEE4D-1555-8C47-AB9F-3DC1A9A2A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CAAA0D-FCB6-464E-BA71-B8E457F13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8130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A0985-B513-224A-9B17-6B3307F0F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C09B54-60D3-E84B-96E9-0C69F12BCE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2BF277-17A2-E040-8171-5BA40EBCDB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220493-50A8-5E43-8DCE-45EE22CC7D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1CB199-FDC7-C84A-929D-7BD0579A9E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93081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674DDF-81A6-2842-8B2E-498D644F20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DFB4AF-871E-714B-9F25-78F7245E9A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5E83AE-5A03-1245-BBD8-22BF6BB9A0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9AD748-A89B-DA45-9E0C-9F74BBA9C4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49293E-1532-AB4A-A125-AAE30E016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047450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EB6E1-6EBA-2B4E-8D3E-3EE8D7432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C27B7E-1F01-0E4D-B4C0-148E2FBDE8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DC10A0-D04B-0E42-BF86-C9B695C258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9FED24-1C9C-0348-AED0-E6C7E7FFF4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F66AA7-5DA2-FD4D-A813-886614005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5B94F3-5C38-8941-941D-E270AE0B6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41332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DAC74-2854-B445-A77E-F0C4D5F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435BD8-BF36-6644-9082-3F1C3DC35A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21589D-6012-634C-A93F-7150A21EA2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F6350D-6B93-FE49-8F9C-A262C681488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7553F9-44EB-064A-9ED2-F3D0BB21F6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078379-6292-1B4E-B8C9-A96EE06C0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3885E3-7A0D-F848-8959-1A8A23408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9175FF-4106-0C4B-AC94-A583DA4BD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12485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CE73F-D6AF-B847-8200-86A3260ED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0688E1-AEB0-0346-8D5A-BE29C6F760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85BBC3-F0CE-C342-BC2C-EBEF355067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514707-D0EE-6F48-AB2D-B017A19EE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93047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C6845D-4312-3644-9564-EE39AEBE64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B5988D-F68F-EC46-99CD-25F20F319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79B1B3-6B69-2F44-A3DF-6AD4FE950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08395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1DC662-2AC7-3840-8900-A84878199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DD2E4A-FDFE-4B4B-900B-C4D1B9BBF4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78D9ED-55AE-074F-BF3A-5B863FDBD5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048C02-A510-9C42-81F1-6AD4516374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E3E691-2973-4046-B28D-0E85A80C0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C83D12-9018-5240-B823-6D911849D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94193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630D73-3B34-634E-9874-71751E744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C554B5-1DDF-EC4F-9844-E3312D9FE7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95A40D-048D-EC43-9BC4-813199276C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C45D07-4CD1-DC49-AFE6-263A51A8E8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CD28843-3D10-4144-A948-AA742911C479}" type="datetimeFigureOut">
              <a:rPr lang="en-DE" smtClean="0"/>
              <a:t>12.03.21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27F3EA-EE22-464A-91C8-91AECBACE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29597D-456D-1445-BB3B-3FE605E31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5023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5000">
              <a:schemeClr val="accent1">
                <a:lumMod val="40000"/>
                <a:lumOff val="60000"/>
              </a:schemeClr>
            </a:gs>
            <a:gs pos="0">
              <a:schemeClr val="accent4">
                <a:lumMod val="60000"/>
                <a:lumOff val="40000"/>
                <a:alpha val="7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1D4EDC-ECDD-DA4A-B4F1-B9FF15D5A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528539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B50A723-54FF-4848-B6B9-66894873A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AF2CCB-2218-A34A-9004-A31A9D60B0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01A8AA-D332-1542-B2C3-3CA13A6C30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EDE398-701E-974C-9D50-03295312C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81188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A2433A-1458-CD41-8CE1-F802981F7D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6776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0A876F-B628-D148-96DD-0831BB5120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54" y="2573593"/>
            <a:ext cx="6622640" cy="1718187"/>
          </a:xfrm>
        </p:spPr>
        <p:txBody>
          <a:bodyPr vert="horz" anchor="ctr">
            <a:normAutofit/>
          </a:bodyPr>
          <a:lstStyle/>
          <a:p>
            <a:r>
              <a:rPr lang="en-DE" sz="8800" dirty="0">
                <a:solidFill>
                  <a:schemeClr val="bg1"/>
                </a:solidFill>
              </a:rPr>
              <a:t>GOALATI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9E85E8-A833-1447-9E5B-BD29A6FD0B32}"/>
              </a:ext>
            </a:extLst>
          </p:cNvPr>
          <p:cNvSpPr/>
          <p:nvPr/>
        </p:nvSpPr>
        <p:spPr>
          <a:xfrm>
            <a:off x="766917" y="3111909"/>
            <a:ext cx="2794819" cy="6194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Goal + Donation =</a:t>
            </a:r>
          </a:p>
        </p:txBody>
      </p:sp>
    </p:spTree>
    <p:extLst>
      <p:ext uri="{BB962C8B-B14F-4D97-AF65-F5344CB8AC3E}">
        <p14:creationId xmlns:p14="http://schemas.microsoft.com/office/powerpoint/2010/main" val="1341102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ung 8">
            <a:extLst>
              <a:ext uri="{FF2B5EF4-FFF2-40B4-BE49-F238E27FC236}">
                <a16:creationId xmlns:a16="http://schemas.microsoft.com/office/drawing/2014/main" id="{B2060641-D90D-1442-A9E6-6D37C433079F}"/>
              </a:ext>
            </a:extLst>
          </p:cNvPr>
          <p:cNvGrpSpPr/>
          <p:nvPr/>
        </p:nvGrpSpPr>
        <p:grpSpPr>
          <a:xfrm>
            <a:off x="4094127" y="2092089"/>
            <a:ext cx="4003746" cy="3853333"/>
            <a:chOff x="2397994" y="844786"/>
            <a:chExt cx="4231440" cy="4072472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93C39D09-D6CE-BA4D-B859-AC7B26B60E68}"/>
                </a:ext>
              </a:extLst>
            </p:cNvPr>
            <p:cNvSpPr/>
            <p:nvPr/>
          </p:nvSpPr>
          <p:spPr>
            <a:xfrm>
              <a:off x="2397994" y="2020737"/>
              <a:ext cx="2880001" cy="28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2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2A63D2D-F404-4840-B008-2704700000CE}"/>
                </a:ext>
              </a:extLst>
            </p:cNvPr>
            <p:cNvSpPr/>
            <p:nvPr/>
          </p:nvSpPr>
          <p:spPr>
            <a:xfrm>
              <a:off x="3073419" y="844786"/>
              <a:ext cx="2880000" cy="2880004"/>
            </a:xfrm>
            <a:prstGeom prst="ellipse">
              <a:avLst/>
            </a:prstGeom>
            <a:solidFill>
              <a:schemeClr val="bg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4D01199-F6D8-E844-91F7-CB63BD712408}"/>
                </a:ext>
              </a:extLst>
            </p:cNvPr>
            <p:cNvSpPr/>
            <p:nvPr/>
          </p:nvSpPr>
          <p:spPr>
            <a:xfrm>
              <a:off x="3749434" y="2037258"/>
              <a:ext cx="2880000" cy="2880000"/>
            </a:xfrm>
            <a:prstGeom prst="ellipse">
              <a:avLst/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509D37E-286E-A843-B689-A29595451E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4963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C64895-A961-F74C-B149-F34CDDBB1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ovid-19 increasingly makes people unhappy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D666E56-BEE3-C64C-9697-80207CE881F4}"/>
              </a:ext>
            </a:extLst>
          </p:cNvPr>
          <p:cNvGrpSpPr/>
          <p:nvPr/>
        </p:nvGrpSpPr>
        <p:grpSpPr>
          <a:xfrm>
            <a:off x="3844695" y="2689015"/>
            <a:ext cx="4502610" cy="2444553"/>
            <a:chOff x="3810410" y="2656932"/>
            <a:chExt cx="4502610" cy="2444553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663B9B6-037E-E348-893A-29E552477894}"/>
                </a:ext>
              </a:extLst>
            </p:cNvPr>
            <p:cNvSpPr/>
            <p:nvPr/>
          </p:nvSpPr>
          <p:spPr>
            <a:xfrm>
              <a:off x="3810410" y="4637141"/>
              <a:ext cx="1993107" cy="464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ysClr val="windowText" lastClr="000000"/>
                  </a:solidFill>
                </a:rPr>
                <a:t>Achieve-</a:t>
              </a:r>
            </a:p>
            <a:p>
              <a:pPr algn="ctr"/>
              <a:r>
                <a:rPr lang="en-DE" dirty="0">
                  <a:solidFill>
                    <a:sysClr val="windowText" lastClr="000000"/>
                  </a:solidFill>
                </a:rPr>
                <a:t>men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8F341F9-D185-2A47-83B7-9494068371A8}"/>
                </a:ext>
              </a:extLst>
            </p:cNvPr>
            <p:cNvSpPr/>
            <p:nvPr/>
          </p:nvSpPr>
          <p:spPr>
            <a:xfrm>
              <a:off x="5099446" y="2656932"/>
              <a:ext cx="1993107" cy="464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ysClr val="windowText" lastClr="000000"/>
                  </a:solidFill>
                </a:rPr>
                <a:t>Acknowledgemen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715AAF0-F847-844A-9B09-12E5134C7C3A}"/>
                </a:ext>
              </a:extLst>
            </p:cNvPr>
            <p:cNvSpPr/>
            <p:nvPr/>
          </p:nvSpPr>
          <p:spPr>
            <a:xfrm>
              <a:off x="6319913" y="4518415"/>
              <a:ext cx="1993107" cy="4643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DE" dirty="0">
                  <a:solidFill>
                    <a:sysClr val="windowText" lastClr="000000"/>
                  </a:solidFill>
                </a:rPr>
                <a:t>Sharing</a:t>
              </a:r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B2D98D7-ADCD-A649-B056-CD992479AE98}"/>
              </a:ext>
            </a:extLst>
          </p:cNvPr>
          <p:cNvCxnSpPr>
            <a:cxnSpLocks/>
          </p:cNvCxnSpPr>
          <p:nvPr/>
        </p:nvCxnSpPr>
        <p:spPr>
          <a:xfrm>
            <a:off x="6457394" y="2689015"/>
            <a:ext cx="501099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791046E-D08D-E445-877F-912639B87043}"/>
              </a:ext>
            </a:extLst>
          </p:cNvPr>
          <p:cNvCxnSpPr>
            <a:cxnSpLocks/>
          </p:cNvCxnSpPr>
          <p:nvPr/>
        </p:nvCxnSpPr>
        <p:spPr>
          <a:xfrm>
            <a:off x="7238008" y="4585398"/>
            <a:ext cx="423038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796EC6B-8BC3-9C42-A39C-99A66B3B5C9A}"/>
              </a:ext>
            </a:extLst>
          </p:cNvPr>
          <p:cNvCxnSpPr>
            <a:cxnSpLocks/>
          </p:cNvCxnSpPr>
          <p:nvPr/>
        </p:nvCxnSpPr>
        <p:spPr>
          <a:xfrm>
            <a:off x="911225" y="4585398"/>
            <a:ext cx="4050497" cy="10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6B968363-7CD5-AB4B-9C4A-216E761234CC}"/>
              </a:ext>
            </a:extLst>
          </p:cNvPr>
          <p:cNvSpPr/>
          <p:nvPr/>
        </p:nvSpPr>
        <p:spPr>
          <a:xfrm>
            <a:off x="7775890" y="2740309"/>
            <a:ext cx="3692501" cy="691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ysClr val="windowText" lastClr="000000"/>
                </a:solidFill>
              </a:rPr>
              <a:t>External acknowledgement can release dopamine in our brain which positively affects our wellbein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3F5F74E-297A-B64A-BD55-2AFBDBDE18C6}"/>
              </a:ext>
            </a:extLst>
          </p:cNvPr>
          <p:cNvSpPr/>
          <p:nvPr/>
        </p:nvSpPr>
        <p:spPr>
          <a:xfrm>
            <a:off x="8347305" y="4651765"/>
            <a:ext cx="3121085" cy="691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ysClr val="windowText" lastClr="000000"/>
                </a:solidFill>
              </a:rPr>
              <a:t>The emotion after helping others often surpasses the feeling of treating yourself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6214AD-A108-0A48-8548-464734B30B05}"/>
              </a:ext>
            </a:extLst>
          </p:cNvPr>
          <p:cNvSpPr/>
          <p:nvPr/>
        </p:nvSpPr>
        <p:spPr>
          <a:xfrm>
            <a:off x="911225" y="4647877"/>
            <a:ext cx="2933470" cy="691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ysClr val="windowText" lastClr="000000"/>
                </a:solidFill>
              </a:rPr>
              <a:t>Accomplishing one’s objectives heavily contributes to the overall motivation and satisfac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70FA4CB-8AA5-6247-9174-37DDCFE5DAA8}"/>
              </a:ext>
            </a:extLst>
          </p:cNvPr>
          <p:cNvSpPr/>
          <p:nvPr/>
        </p:nvSpPr>
        <p:spPr>
          <a:xfrm>
            <a:off x="882445" y="365125"/>
            <a:ext cx="3082413" cy="361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PROBLEM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9A75CF2-F504-CB47-807A-6AC87B77C87F}"/>
              </a:ext>
            </a:extLst>
          </p:cNvPr>
          <p:cNvSpPr/>
          <p:nvPr/>
        </p:nvSpPr>
        <p:spPr>
          <a:xfrm>
            <a:off x="845575" y="1955223"/>
            <a:ext cx="3715568" cy="1238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 dirty="0">
                <a:latin typeface="+mj-lt"/>
              </a:rPr>
              <a:t>What drives happiness?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F8AE246-368C-1B4F-AE7B-3EBEF9D81C98}"/>
              </a:ext>
            </a:extLst>
          </p:cNvPr>
          <p:cNvSpPr/>
          <p:nvPr/>
        </p:nvSpPr>
        <p:spPr>
          <a:xfrm>
            <a:off x="5428355" y="3858510"/>
            <a:ext cx="1334729" cy="5899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Goal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293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1DD5EC1-09C9-C345-95CB-C28920933B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22925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1DD5EC1-09C9-C345-95CB-C28920933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B3CF533-81FC-4042-8803-901CA8419918}"/>
              </a:ext>
            </a:extLst>
          </p:cNvPr>
          <p:cNvSpPr/>
          <p:nvPr/>
        </p:nvSpPr>
        <p:spPr>
          <a:xfrm>
            <a:off x="6865374" y="1932073"/>
            <a:ext cx="4481051" cy="4288705"/>
          </a:xfrm>
          <a:prstGeom prst="round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689A019-1454-8B4F-9ACF-904835731985}"/>
              </a:ext>
            </a:extLst>
          </p:cNvPr>
          <p:cNvSpPr/>
          <p:nvPr/>
        </p:nvSpPr>
        <p:spPr>
          <a:xfrm>
            <a:off x="1565789" y="4920008"/>
            <a:ext cx="2015999" cy="144643"/>
          </a:xfrm>
          <a:prstGeom prst="rect">
            <a:avLst/>
          </a:prstGeom>
          <a:gradFill>
            <a:gsLst>
              <a:gs pos="100000">
                <a:schemeClr val="bg1">
                  <a:alpha val="70000"/>
                </a:schemeClr>
              </a:gs>
              <a:gs pos="65000">
                <a:srgbClr val="FFC000">
                  <a:alpha val="70000"/>
                </a:srgb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E2A5074-AD26-4247-BD45-1590DEDB575D}"/>
              </a:ext>
            </a:extLst>
          </p:cNvPr>
          <p:cNvSpPr/>
          <p:nvPr/>
        </p:nvSpPr>
        <p:spPr>
          <a:xfrm>
            <a:off x="1944367" y="5732937"/>
            <a:ext cx="2160000" cy="144643"/>
          </a:xfrm>
          <a:prstGeom prst="rect">
            <a:avLst/>
          </a:prstGeom>
          <a:gradFill>
            <a:gsLst>
              <a:gs pos="100000">
                <a:schemeClr val="bg1">
                  <a:alpha val="70000"/>
                </a:schemeClr>
              </a:gs>
              <a:gs pos="65000">
                <a:srgbClr val="FFC000">
                  <a:alpha val="70000"/>
                </a:srgb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9E099D-9078-5C48-8F18-7BA2F5D948DA}"/>
              </a:ext>
            </a:extLst>
          </p:cNvPr>
          <p:cNvSpPr/>
          <p:nvPr/>
        </p:nvSpPr>
        <p:spPr>
          <a:xfrm>
            <a:off x="1880420" y="3822673"/>
            <a:ext cx="1578077" cy="144643"/>
          </a:xfrm>
          <a:prstGeom prst="rect">
            <a:avLst/>
          </a:prstGeom>
          <a:gradFill>
            <a:gsLst>
              <a:gs pos="100000">
                <a:schemeClr val="bg1">
                  <a:alpha val="70000"/>
                </a:schemeClr>
              </a:gs>
              <a:gs pos="65000">
                <a:srgbClr val="FFC000">
                  <a:alpha val="70000"/>
                </a:srgb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D3849E-7BA5-9C47-BA91-6674B398C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crease happiness for every outcom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9C28ED-4A17-C74B-9C27-16F6AB048370}"/>
              </a:ext>
            </a:extLst>
          </p:cNvPr>
          <p:cNvSpPr/>
          <p:nvPr/>
        </p:nvSpPr>
        <p:spPr>
          <a:xfrm>
            <a:off x="882445" y="365125"/>
            <a:ext cx="3082413" cy="361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SOLU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728F496-63F1-D846-8F25-E75FA0095505}"/>
              </a:ext>
            </a:extLst>
          </p:cNvPr>
          <p:cNvSpPr/>
          <p:nvPr/>
        </p:nvSpPr>
        <p:spPr>
          <a:xfrm>
            <a:off x="845575" y="3622151"/>
            <a:ext cx="4736689" cy="2617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The joyful productivity app that helps you to stick to your goals by betting money on it.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Achieving your goals has never been more fun due to positive enforcement and gamification.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Make the world a better place! If you miss your target, the money will be donated to a social purpose of your choice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3531D-C4EE-AC46-AB1E-A556A0C8C91F}"/>
              </a:ext>
            </a:extLst>
          </p:cNvPr>
          <p:cNvSpPr/>
          <p:nvPr/>
        </p:nvSpPr>
        <p:spPr>
          <a:xfrm>
            <a:off x="8120940" y="2592061"/>
            <a:ext cx="1929581" cy="382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Define your goal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5B15F2-2BC5-594D-818C-D06A191204AE}"/>
              </a:ext>
            </a:extLst>
          </p:cNvPr>
          <p:cNvSpPr/>
          <p:nvPr/>
        </p:nvSpPr>
        <p:spPr>
          <a:xfrm>
            <a:off x="845575" y="1955223"/>
            <a:ext cx="3715568" cy="1238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 dirty="0">
                <a:latin typeface="+mj-lt"/>
              </a:rPr>
              <a:t>What </a:t>
            </a:r>
            <a:r>
              <a:rPr lang="en-US" sz="4400" dirty="0" err="1">
                <a:latin typeface="+mj-lt"/>
              </a:rPr>
              <a:t>Goalation</a:t>
            </a:r>
            <a:r>
              <a:rPr lang="en-US" sz="4400" dirty="0">
                <a:latin typeface="+mj-lt"/>
              </a:rPr>
              <a:t> </a:t>
            </a:r>
            <a:r>
              <a:rPr lang="en-US" sz="4400" dirty="0"/>
              <a:t>does</a:t>
            </a:r>
            <a:r>
              <a:rPr lang="en-US" sz="4400" dirty="0">
                <a:latin typeface="+mj-lt"/>
              </a:rPr>
              <a:t>?</a:t>
            </a:r>
          </a:p>
        </p:txBody>
      </p:sp>
      <p:pic>
        <p:nvPicPr>
          <p:cNvPr id="20" name="Graphic 19" descr="Bullseye with solid fill">
            <a:extLst>
              <a:ext uri="{FF2B5EF4-FFF2-40B4-BE49-F238E27FC236}">
                <a16:creationId xmlns:a16="http://schemas.microsoft.com/office/drawing/2014/main" id="{C1812BEB-DBDE-1743-9449-0701B4B2C3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30144" y="2090156"/>
            <a:ext cx="511173" cy="511173"/>
          </a:xfrm>
          <a:prstGeom prst="rect">
            <a:avLst/>
          </a:prstGeom>
        </p:spPr>
      </p:pic>
      <p:pic>
        <p:nvPicPr>
          <p:cNvPr id="22" name="Graphic 21" descr="Aspiration with solid fill">
            <a:extLst>
              <a:ext uri="{FF2B5EF4-FFF2-40B4-BE49-F238E27FC236}">
                <a16:creationId xmlns:a16="http://schemas.microsoft.com/office/drawing/2014/main" id="{A4EBA9D6-9D4D-DA4A-97E1-B0EC012A55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86952" y="4455774"/>
            <a:ext cx="678426" cy="67842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5AC68140-C11A-3549-B66E-C1E320641084}"/>
              </a:ext>
            </a:extLst>
          </p:cNvPr>
          <p:cNvSpPr/>
          <p:nvPr/>
        </p:nvSpPr>
        <p:spPr>
          <a:xfrm>
            <a:off x="7108328" y="4640129"/>
            <a:ext cx="1929581" cy="4940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Success</a:t>
            </a:r>
          </a:p>
        </p:txBody>
      </p:sp>
      <p:pic>
        <p:nvPicPr>
          <p:cNvPr id="25" name="Graphic 24" descr="Angel face with solid fill with solid fill">
            <a:extLst>
              <a:ext uri="{FF2B5EF4-FFF2-40B4-BE49-F238E27FC236}">
                <a16:creationId xmlns:a16="http://schemas.microsoft.com/office/drawing/2014/main" id="{EECC347B-FDFA-5145-9BA9-884474BF36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57393" y="4588642"/>
            <a:ext cx="476010" cy="476010"/>
          </a:xfrm>
          <a:prstGeom prst="rect">
            <a:avLst/>
          </a:prstGeom>
        </p:spPr>
      </p:pic>
      <p:pic>
        <p:nvPicPr>
          <p:cNvPr id="27" name="Graphic 26" descr="Coins with solid fill">
            <a:extLst>
              <a:ext uri="{FF2B5EF4-FFF2-40B4-BE49-F238E27FC236}">
                <a16:creationId xmlns:a16="http://schemas.microsoft.com/office/drawing/2014/main" id="{5B140E3E-C1A6-3A47-8040-7547172BB98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20142" y="3278337"/>
            <a:ext cx="531177" cy="531177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5D2E9A1D-A976-5D4E-AC28-A7C8BDBA78AD}"/>
              </a:ext>
            </a:extLst>
          </p:cNvPr>
          <p:cNvSpPr/>
          <p:nvPr/>
        </p:nvSpPr>
        <p:spPr>
          <a:xfrm>
            <a:off x="8120940" y="3831505"/>
            <a:ext cx="1929581" cy="3829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Bet money on i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6E22977-CE66-2340-A780-898F9D2AFBBF}"/>
              </a:ext>
            </a:extLst>
          </p:cNvPr>
          <p:cNvSpPr/>
          <p:nvPr/>
        </p:nvSpPr>
        <p:spPr>
          <a:xfrm>
            <a:off x="9474591" y="4640128"/>
            <a:ext cx="1929581" cy="4940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Goal Misse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77D6ED5-5D49-8749-99EC-3EB2CDEFF754}"/>
              </a:ext>
            </a:extLst>
          </p:cNvPr>
          <p:cNvSpPr/>
          <p:nvPr/>
        </p:nvSpPr>
        <p:spPr>
          <a:xfrm>
            <a:off x="7230347" y="5125030"/>
            <a:ext cx="1622442" cy="899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ysClr val="windowText" lastClr="000000"/>
                </a:solidFill>
              </a:rPr>
              <a:t>Receive virtual rewards to boost motivation and keep all your money.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2BF5A0-819D-F64E-8428-CC99170F5734}"/>
              </a:ext>
            </a:extLst>
          </p:cNvPr>
          <p:cNvSpPr/>
          <p:nvPr/>
        </p:nvSpPr>
        <p:spPr>
          <a:xfrm>
            <a:off x="9324618" y="5125030"/>
            <a:ext cx="1622442" cy="899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ysClr val="windowText" lastClr="000000"/>
                </a:solidFill>
              </a:rPr>
              <a:t>The money you bet on this specific goal will be donated. Become a world changer!</a:t>
            </a:r>
          </a:p>
        </p:txBody>
      </p:sp>
    </p:spTree>
    <p:extLst>
      <p:ext uri="{BB962C8B-B14F-4D97-AF65-F5344CB8AC3E}">
        <p14:creationId xmlns:p14="http://schemas.microsoft.com/office/powerpoint/2010/main" val="38762683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1DD5EC1-09C9-C345-95CB-C28920933B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9955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1DD5EC1-09C9-C345-95CB-C28920933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D3849E-7BA5-9C47-BA91-6674B398C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Goalation</a:t>
            </a:r>
            <a:r>
              <a:rPr lang="en-US" dirty="0"/>
              <a:t> helps you to commit to your goal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9C28ED-4A17-C74B-9C27-16F6AB048370}"/>
              </a:ext>
            </a:extLst>
          </p:cNvPr>
          <p:cNvSpPr/>
          <p:nvPr/>
        </p:nvSpPr>
        <p:spPr>
          <a:xfrm>
            <a:off x="882445" y="365125"/>
            <a:ext cx="3082413" cy="361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PRODUCT</a:t>
            </a:r>
          </a:p>
        </p:txBody>
      </p:sp>
      <p:pic>
        <p:nvPicPr>
          <p:cNvPr id="7" name="Content Placeholder 7">
            <a:extLst>
              <a:ext uri="{FF2B5EF4-FFF2-40B4-BE49-F238E27FC236}">
                <a16:creationId xmlns:a16="http://schemas.microsoft.com/office/drawing/2014/main" id="{8B509320-83FF-9048-9187-60216DF86E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6000" y="1955223"/>
            <a:ext cx="5625506" cy="415798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91473C9-904C-C646-A562-765F125BD95A}"/>
              </a:ext>
            </a:extLst>
          </p:cNvPr>
          <p:cNvSpPr/>
          <p:nvPr/>
        </p:nvSpPr>
        <p:spPr>
          <a:xfrm>
            <a:off x="845575" y="1955223"/>
            <a:ext cx="3851786" cy="1238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 dirty="0">
                <a:latin typeface="+mj-lt"/>
              </a:rPr>
              <a:t>How to organize your objectives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EF8055-A44D-3B4C-8014-90951784992A}"/>
              </a:ext>
            </a:extLst>
          </p:cNvPr>
          <p:cNvSpPr/>
          <p:nvPr/>
        </p:nvSpPr>
        <p:spPr>
          <a:xfrm>
            <a:off x="845575" y="3622151"/>
            <a:ext cx="4736689" cy="2617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Set goals for different time horizons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(daily, weekly, monthly, quarterly, yearly).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Create different goal categories for most efficient goal tracking.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Prioritize your goals according to your individual needs to have the best overview.</a:t>
            </a:r>
          </a:p>
        </p:txBody>
      </p:sp>
    </p:spTree>
    <p:extLst>
      <p:ext uri="{BB962C8B-B14F-4D97-AF65-F5344CB8AC3E}">
        <p14:creationId xmlns:p14="http://schemas.microsoft.com/office/powerpoint/2010/main" val="961624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C90F89-185A-614B-AFDF-B4B07756A9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09838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581CCF0-49FC-DF4E-85BE-806D11098837}"/>
              </a:ext>
            </a:extLst>
          </p:cNvPr>
          <p:cNvSpPr/>
          <p:nvPr/>
        </p:nvSpPr>
        <p:spPr>
          <a:xfrm>
            <a:off x="2633816" y="2477730"/>
            <a:ext cx="6939116" cy="26030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4400" dirty="0">
                <a:latin typeface="+mj-lt"/>
              </a:rPr>
              <a:t>GOALATION</a:t>
            </a:r>
          </a:p>
          <a:p>
            <a:pPr algn="ctr"/>
            <a:endParaRPr lang="en-DE" dirty="0"/>
          </a:p>
          <a:p>
            <a:pPr algn="ctr"/>
            <a:endParaRPr lang="en-DE" dirty="0"/>
          </a:p>
          <a:p>
            <a:pPr algn="ctr"/>
            <a:r>
              <a:rPr lang="en-DE" dirty="0"/>
              <a:t>Thank you for your attention and feedback!</a:t>
            </a:r>
          </a:p>
        </p:txBody>
      </p:sp>
    </p:spTree>
    <p:extLst>
      <p:ext uri="{BB962C8B-B14F-4D97-AF65-F5344CB8AC3E}">
        <p14:creationId xmlns:p14="http://schemas.microsoft.com/office/powerpoint/2010/main" val="700717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1</TotalTime>
  <Words>233</Words>
  <Application>Microsoft Macintosh PowerPoint</Application>
  <PresentationFormat>Widescreen</PresentationFormat>
  <Paragraphs>39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Open Sans Light</vt:lpstr>
      <vt:lpstr>Office Theme</vt:lpstr>
      <vt:lpstr>think-cell Slide</vt:lpstr>
      <vt:lpstr>GOALATION</vt:lpstr>
      <vt:lpstr>Covid-19 increasingly makes people unhappy.</vt:lpstr>
      <vt:lpstr>Increase happiness for every outcome.</vt:lpstr>
      <vt:lpstr>Goalation helps you to commit to your goals.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bias Boldizsar</dc:creator>
  <cp:lastModifiedBy>Tobias Boldizsar</cp:lastModifiedBy>
  <cp:revision>29</cp:revision>
  <dcterms:created xsi:type="dcterms:W3CDTF">2021-03-09T14:54:00Z</dcterms:created>
  <dcterms:modified xsi:type="dcterms:W3CDTF">2021-03-12T15:50:56Z</dcterms:modified>
</cp:coreProperties>
</file>